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6" r:id="rId2"/>
    <p:sldId id="257" r:id="rId3"/>
    <p:sldId id="258" r:id="rId4"/>
    <p:sldId id="259" r:id="rId5"/>
    <p:sldId id="260" r:id="rId6"/>
  </p:sldIdLst>
  <p:sldSz cx="12192000" cy="6858000"/>
  <p:notesSz cx="6858000" cy="9144000"/>
  <p:custDataLst>
    <p:tags r:id="rId8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0FB10C-71D0-F050-DAB9-4808280EBF34}" name="Boglári Barbara" initials="BB" userId="S::barbara.boglari@skymarketing.hu::d1abfb33-79a8-4870-a2c4-a58e3bc6871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üskés Vilmos" initials="TV" lastIdx="13" clrIdx="0">
    <p:extLst>
      <p:ext uri="{19B8F6BF-5375-455C-9EA6-DF929625EA0E}">
        <p15:presenceInfo xmlns:p15="http://schemas.microsoft.com/office/powerpoint/2012/main" userId="S::vilmos.tuskes@skymarketing.onmicrosoft.com::8dc020de-b7fc-420c-9468-5f1ea5a78ba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8CC0DE-1D59-4B0C-AE39-417EA7DE6910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3BCEC3-140C-4279-A494-743AF1A5A412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58002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F26B41B-5AAE-45E3-AA58-8E8139FA8E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D9292421-3A5B-4EAA-9045-BD1CD8DF5E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D35F635-C176-4DBA-B4BD-8F0EE7079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2F1918E6-3830-4A1E-BB7A-A21B43A9F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E8FD187F-CFAF-4E47-8DD1-FAE2DDD55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85643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CEDBE6B-59ED-41A7-A466-F7EAE6CE5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1C2571F2-6FA4-402E-9017-D57AF5A329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11399C09-0701-411F-A74F-FC58C62468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3F9812B-7C57-4339-9806-4C11A31E3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325B6306-3062-4D59-A93D-F1EDF0D8C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33275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35E71FAA-A311-4F91-8523-DE5D9F7E2C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D3288D46-AABC-4609-9BAC-E8636636B6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42F7ACD-609E-4C30-B5C5-C103C3C26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18B9448A-673B-4A02-A0D6-31533C930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383B16B-83AA-4792-A509-C870A1845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1555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4B01A64-D53D-430E-AF38-E6CDC7584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DBA5CC14-B578-4F4C-8757-97641670AF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AB94295-9D9C-44DD-BE97-EB2A5B66E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B70DE3B9-315F-4D8F-BF27-E53B1A33F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BDCB77A-4949-43DF-8A09-639689527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0984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B9114F2-CA9D-445A-ADFD-2B74ADCFF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2C6557D2-0CAE-4E5A-AF9F-3063AD360A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3751F903-24ED-4724-8536-8ED91EA0E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2D0B24B0-D590-410E-AC86-0B40DB8C4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E5CC475-30A9-4D0C-9E0E-28F18593D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46519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FBA27CB-9F1C-4032-B024-AD28A13A9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F65F6E9-9AE0-49DD-9F00-BA982819EB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C4A81789-1745-4FC3-A1B6-A334689221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180FC77-6D81-4A73-B701-0E5793DE2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A7C1B9D-7F51-4549-A124-67736261D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83B39E2F-E6AA-45D2-A58B-C268435AD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8633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3CA2D13-8EB1-4E7D-A4D0-51B1F0FD9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A19DF55-7271-442C-AE15-6554AA5DC0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4AF1D4DB-0466-44C1-952C-4DD05E54CD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1B0E9195-6094-44E4-818B-64853B0392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E3255F4B-A131-498B-8AB3-4D59C3E0BD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826C05C3-F2A8-4DC2-89E7-41CFFFDAA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E484AC08-7E27-43ED-830C-14265E394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00D45F57-5B72-46CC-B98F-78006E1C1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11341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D4AB3FC-FE9F-4C02-94E9-3FEDF3D42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6A9E489C-B421-4806-94D9-74B174CAB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B54D5BD4-78F6-4E62-B487-C93F78922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AB31825F-795A-4CEF-90E1-08D90A0B0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24592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2AD91C9A-134D-4B0E-A318-7C4FAED56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7CA61FF6-CDDE-42FE-8216-20E1B2EEB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F301631E-856D-42F5-8F8B-A7E39F4C9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05416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8A402AF-435E-4E62-9771-6EC5D8D64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1F10C471-000F-4701-92C0-926D00478C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BAA55F0A-5BED-4487-88F6-B3063799DF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A370EE9E-2492-4C9E-A85E-ECD1CCD16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5F45987E-3C4F-4939-97CD-16D7AABF2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A0941815-984D-4CB6-BA1B-7CE4C5859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67159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5C7727A-4FEE-47B5-946F-B93EB451D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3217903A-9985-4FDC-BA28-6540D1D06A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CDE8D8A2-FEAE-4E96-817C-CD6EFFC062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996DF68-016F-494F-8C3E-646E82712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F3F1CA6-9069-460B-89F7-CB3CB1EF0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1B82A149-D272-4BEE-BA47-97238D0D4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3076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A47BD5-32A8-4797-93D1-62BBAA1A9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88398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D7736F55-CCC6-4006-9FAD-642F5813C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B395D50-C263-46EF-830C-B5407BAD03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DB1240EC-AD14-4392-8394-90B04BEE5C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DA99E-EC3D-4E27-A076-3F3C9B2E1F44}" type="datetimeFigureOut">
              <a:rPr lang="hu-HU" smtClean="0"/>
              <a:t>2022. 06. 16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B1E3FE8-A00B-4FD9-8A6C-595B3025B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A6A4D06-E671-4B42-8F70-6BE92DBE97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8A005-069F-414E-9DD0-4681D428D5E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72222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B12B256-04A9-4034-AD0B-836664F53F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56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rtalom helye 2">
            <a:extLst>
              <a:ext uri="{FF2B5EF4-FFF2-40B4-BE49-F238E27FC236}">
                <a16:creationId xmlns:a16="http://schemas.microsoft.com/office/drawing/2014/main" id="{E0F07B73-B745-4C38-8B34-D36D93FD98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9152" y="1249805"/>
            <a:ext cx="5781741" cy="3270823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hu-HU" sz="1400" dirty="0">
              <a:latin typeface="Trebuchet MS" panose="020B0603020202020204" pitchFamily="34" charset="0"/>
            </a:endParaRPr>
          </a:p>
          <a:p>
            <a:pPr marL="0" indent="0" algn="just">
              <a:buNone/>
            </a:pPr>
            <a:r>
              <a:rPr lang="hu-HU" sz="1400" dirty="0">
                <a:latin typeface="Trebuchet MS" panose="020B0603020202020204" pitchFamily="34" charset="0"/>
              </a:rPr>
              <a:t>Viseld a kontaktlencsék új generációját! Megérkezett a forradalmi Total 30</a:t>
            </a:r>
            <a:r>
              <a:rPr lang="hu-HU" sz="1400" baseline="30000" dirty="0">
                <a:latin typeface="Trebuchet MS" panose="020B0603020202020204" pitchFamily="34" charset="0"/>
              </a:rPr>
              <a:t>TM</a:t>
            </a:r>
            <a:r>
              <a:rPr lang="hu-HU" sz="1400" dirty="0">
                <a:latin typeface="Trebuchet MS" panose="020B0603020202020204" pitchFamily="34" charset="0"/>
              </a:rPr>
              <a:t> havi lencse, amelynek a felületén közel 100%-ban víz van! Várunk üzletünkben a semmihez sem fogható Total 30</a:t>
            </a:r>
            <a:r>
              <a:rPr lang="hu-HU" sz="1400" baseline="30000" dirty="0">
                <a:latin typeface="Trebuchet MS" panose="020B0603020202020204" pitchFamily="34" charset="0"/>
              </a:rPr>
              <a:t>TM</a:t>
            </a:r>
            <a:r>
              <a:rPr lang="hu-HU" sz="1400" dirty="0">
                <a:latin typeface="Trebuchet MS" panose="020B0603020202020204" pitchFamily="34" charset="0"/>
              </a:rPr>
              <a:t> élménnyel! HU-T30-2200029-06-22</a:t>
            </a:r>
          </a:p>
          <a:p>
            <a:pPr marL="0" indent="0" algn="just">
              <a:buNone/>
            </a:pPr>
            <a:r>
              <a:rPr lang="hu-HU" sz="1400" dirty="0">
                <a:latin typeface="Trebuchet MS" panose="020B0603020202020204" pitchFamily="34" charset="0"/>
              </a:rPr>
              <a:t>A KOCKÁZATOKRÓL OLVASSA EL A HASZNÁLATI ÚTMUTATÓT, VAGY KÉRDEZZE MEG KEZELŐORVOSÁT!</a:t>
            </a:r>
          </a:p>
          <a:p>
            <a:pPr marL="0" indent="0" algn="just">
              <a:buNone/>
            </a:pPr>
            <a:endParaRPr lang="hu-HU" sz="1400" dirty="0">
              <a:latin typeface="Trebuchet MS" panose="020B0603020202020204" pitchFamily="34" charset="0"/>
            </a:endParaRPr>
          </a:p>
          <a:p>
            <a:pPr marL="0" indent="0" algn="just">
              <a:buNone/>
            </a:pPr>
            <a:endParaRPr lang="hu-HU" sz="1400" dirty="0">
              <a:latin typeface="Trebuchet MS" panose="020B0603020202020204" pitchFamily="34" charset="0"/>
            </a:endParaRPr>
          </a:p>
        </p:txBody>
      </p:sp>
      <p:pic>
        <p:nvPicPr>
          <p:cNvPr id="8" name="Kép 7" descr="A képen szöveg látható&#10;&#10;Automatikusan generált leírás">
            <a:extLst>
              <a:ext uri="{FF2B5EF4-FFF2-40B4-BE49-F238E27FC236}">
                <a16:creationId xmlns:a16="http://schemas.microsoft.com/office/drawing/2014/main" id="{94E37492-1CB4-4D5A-D167-C5137DE2E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76" y="982045"/>
            <a:ext cx="4763981" cy="4763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068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BF94619-68CD-4FA5-BC40-4A7D9311E4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841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rtalom helye 2">
            <a:extLst>
              <a:ext uri="{FF2B5EF4-FFF2-40B4-BE49-F238E27FC236}">
                <a16:creationId xmlns:a16="http://schemas.microsoft.com/office/drawing/2014/main" id="{5B2B818F-345B-E83A-4E59-C035DF83C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655756"/>
            <a:ext cx="5801474" cy="2640040"/>
          </a:xfrm>
        </p:spPr>
        <p:txBody>
          <a:bodyPr>
            <a:normAutofit fontScale="85000" lnSpcReduction="10000"/>
          </a:bodyPr>
          <a:lstStyle/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Megérkezett a forradalmian új Total 30</a:t>
            </a:r>
            <a:r>
              <a:rPr lang="hu-HU" sz="2800" baseline="30000" dirty="0">
                <a:latin typeface="Trebuchet MS" panose="020B0603020202020204" pitchFamily="34" charset="0"/>
              </a:rPr>
              <a:t>TM</a:t>
            </a:r>
            <a:r>
              <a:rPr lang="hu-HU" sz="2800" dirty="0">
                <a:latin typeface="Trebuchet MS" panose="020B0603020202020204" pitchFamily="34" charset="0"/>
              </a:rPr>
              <a:t> havi lencse, amelynek a felületén közel 100%-ban víz van!</a:t>
            </a:r>
            <a:r>
              <a:rPr lang="hu-HU" sz="2800" dirty="0">
                <a:solidFill>
                  <a:srgbClr val="FF0000"/>
                </a:solidFill>
                <a:latin typeface="Trebuchet MS" panose="020B0603020202020204" pitchFamily="34" charset="0"/>
              </a:rPr>
              <a:t> </a:t>
            </a:r>
            <a:r>
              <a:rPr lang="hu-HU" sz="2800" dirty="0">
                <a:latin typeface="Trebuchet MS" panose="020B0603020202020204" pitchFamily="34" charset="0"/>
              </a:rPr>
              <a:t>Várunk üzletünkben a semmihez sem fogható Total 30</a:t>
            </a:r>
            <a:r>
              <a:rPr lang="hu-HU" sz="2800" baseline="30000" dirty="0">
                <a:latin typeface="Trebuchet MS" panose="020B0603020202020204" pitchFamily="34" charset="0"/>
              </a:rPr>
              <a:t>TM</a:t>
            </a:r>
            <a:r>
              <a:rPr lang="hu-HU" sz="2800" dirty="0">
                <a:latin typeface="Trebuchet MS" panose="020B0603020202020204" pitchFamily="34" charset="0"/>
              </a:rPr>
              <a:t> élménnyel!</a:t>
            </a:r>
            <a:r>
              <a:rPr lang="hu-HU" dirty="0">
                <a:latin typeface="Trebuchet MS" panose="020B0603020202020204" pitchFamily="34" charset="0"/>
              </a:rPr>
              <a:t> HU-T30-2200029-06-22</a:t>
            </a:r>
            <a:endParaRPr lang="hu-HU" sz="2800" dirty="0">
              <a:latin typeface="Trebuchet MS" panose="020B0603020202020204" pitchFamily="34" charset="0"/>
            </a:endParaRP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A KOCKÁZATOKRÓL OLVASSA EL A HASZNÁLATI ÚTMUTATÓT, VAGY KÉRDEZZE MEG KEZELŐORVOSÁT!</a:t>
            </a:r>
          </a:p>
        </p:txBody>
      </p:sp>
      <p:pic>
        <p:nvPicPr>
          <p:cNvPr id="4" name="Kép 3" descr="A képen szöveg, kültéri, aláírás látható&#10;&#10;Automatikusan generált leírás">
            <a:extLst>
              <a:ext uri="{FF2B5EF4-FFF2-40B4-BE49-F238E27FC236}">
                <a16:creationId xmlns:a16="http://schemas.microsoft.com/office/drawing/2014/main" id="{0931365D-A251-C8A1-785D-C2146CB4C1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84" y="836225"/>
            <a:ext cx="5039147" cy="503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509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773A9B-C885-43BD-B43C-5D9F57B3E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01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rtalom helye 2">
            <a:extLst>
              <a:ext uri="{FF2B5EF4-FFF2-40B4-BE49-F238E27FC236}">
                <a16:creationId xmlns:a16="http://schemas.microsoft.com/office/drawing/2014/main" id="{5B2B818F-345B-E83A-4E59-C035DF83C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4827" y="1445394"/>
            <a:ext cx="5778229" cy="2640040"/>
          </a:xfrm>
        </p:spPr>
        <p:txBody>
          <a:bodyPr>
            <a:normAutofit fontScale="55000" lnSpcReduction="20000"/>
          </a:bodyPr>
          <a:lstStyle/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Válaszd a semmi örömét és legyen meg mindened a nyárra! </a:t>
            </a:r>
            <a:r>
              <a:rPr lang="hu-HU" dirty="0">
                <a:latin typeface="Trebuchet MS" panose="020B0603020202020204" pitchFamily="34" charset="0"/>
              </a:rPr>
              <a:t>2 csomag legújabb fejlesztésű</a:t>
            </a:r>
            <a:r>
              <a:rPr lang="hu-HU" sz="2800" dirty="0">
                <a:latin typeface="Trebuchet MS" panose="020B0603020202020204" pitchFamily="34" charset="0"/>
              </a:rPr>
              <a:t> Total 30</a:t>
            </a:r>
            <a:r>
              <a:rPr lang="hu-HU" sz="2800" baseline="30000" dirty="0">
                <a:latin typeface="Trebuchet MS" panose="020B0603020202020204" pitchFamily="34" charset="0"/>
              </a:rPr>
              <a:t>TM</a:t>
            </a:r>
            <a:r>
              <a:rPr lang="hu-HU" dirty="0">
                <a:latin typeface="Trebuchet MS" panose="020B0603020202020204" pitchFamily="34" charset="0"/>
              </a:rPr>
              <a:t> kontaktlencse vásárlása esetén, most ajándék törölközővel is meglepünk, hogy minden eddiginél egyedibb stílusban vehesd be a partokat!*</a:t>
            </a:r>
            <a:endParaRPr lang="hu-HU" sz="2800" dirty="0">
              <a:latin typeface="Trebuchet MS" panose="020B0603020202020204" pitchFamily="34" charset="0"/>
            </a:endParaRP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HU-T30-2200029-06-22</a:t>
            </a:r>
          </a:p>
          <a:p>
            <a:pPr marL="0" indent="0" algn="just">
              <a:buNone/>
            </a:pPr>
            <a:r>
              <a:rPr lang="hu-HU" sz="2700" dirty="0">
                <a:latin typeface="Trebuchet MS" panose="020B0603020202020204" pitchFamily="34" charset="0"/>
              </a:rPr>
              <a:t>*AZ AJÁNLAT 2022. JÚNIUS 15. ÉS AUGUSZTUS 31. KÖZÖTT VAGY A KÉSZLET EREJÉIG ÉRVÉNYES MINDEN KÉT DOBOZ TOTAL 30TM 3DB-OS VAGY 6 DB-OS SZFÉRIKUS HAVI LENCSE VÁSÁRLÁSA ESETÉN.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A KOCKÁZATOKRÓL OLVASSA EL A HASZNÁLATI ÚTMUTATÓT, VAGY KÉRDEZZE MEG KEZELŐORVOSÁT!</a:t>
            </a:r>
          </a:p>
        </p:txBody>
      </p:sp>
      <p:pic>
        <p:nvPicPr>
          <p:cNvPr id="4" name="Kép 3" descr="A képen szöveg, szerszám, seprű látható&#10;&#10;Automatikusan generált leírás">
            <a:extLst>
              <a:ext uri="{FF2B5EF4-FFF2-40B4-BE49-F238E27FC236}">
                <a16:creationId xmlns:a16="http://schemas.microsoft.com/office/drawing/2014/main" id="{397B5F5D-1726-4D14-9A9A-067E858542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10" y="847876"/>
            <a:ext cx="4638524" cy="4638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55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BFD8F0C-7D85-4071-B463-E10537BFAF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551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rtalom helye 2">
            <a:extLst>
              <a:ext uri="{FF2B5EF4-FFF2-40B4-BE49-F238E27FC236}">
                <a16:creationId xmlns:a16="http://schemas.microsoft.com/office/drawing/2014/main" id="{5B2B818F-345B-E83A-4E59-C035DF83C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6216" y="939341"/>
            <a:ext cx="5696584" cy="3673755"/>
          </a:xfrm>
        </p:spPr>
        <p:txBody>
          <a:bodyPr>
            <a:normAutofit fontScale="62500" lnSpcReduction="20000"/>
          </a:bodyPr>
          <a:lstStyle/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A semmi öröme már a tiéd, de ne érd be ennyivel! Vásárold meg vadiúj Total 30</a:t>
            </a:r>
            <a:r>
              <a:rPr lang="hu-HU" sz="2800" baseline="30000" dirty="0">
                <a:latin typeface="Trebuchet MS" panose="020B0603020202020204" pitchFamily="34" charset="0"/>
              </a:rPr>
              <a:t>TM</a:t>
            </a:r>
            <a:r>
              <a:rPr lang="hu-HU" baseline="30000" dirty="0">
                <a:latin typeface="Trebuchet MS" panose="020B0603020202020204" pitchFamily="34" charset="0"/>
              </a:rPr>
              <a:t> </a:t>
            </a:r>
            <a:r>
              <a:rPr lang="hu-HU" sz="2800" dirty="0">
                <a:latin typeface="Trebuchet MS" panose="020B0603020202020204" pitchFamily="34" charset="0"/>
              </a:rPr>
              <a:t>kontaktlencsénket két csomaggal és megajándékozunk egy különleges strandtörölközővel is, hogy mindennel felkészült legyél a nyárra!*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HU-T30-2200029-06-22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*AZ AJÁNLAT 2022. JÚNIUS 15. ÉS AUGUSZTUS 31. KÖZÖTT VAGY A KÉSZLET EREJÉIG ÉRVÉNYES MINDEN KÉT DOBOZ TOTAL 30TM 3DB-OS VAGY 6 DB-OS SZFÉRIKUS HAVI LENCSE VÁSÁRLÁSA ESETÉN.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A KOCKÁZATOKRÓL OLVASSA EL A HASZNÁLATI ÚTMUTATÓT, VAGY KÉRDEZZE MEG KEZELŐORVOSÁT!</a:t>
            </a: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4CEE2FF8-E48D-8745-4E31-0084BD1433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58" y="770765"/>
            <a:ext cx="4530903" cy="4530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143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C8332B-ECCD-4A5D-AAA0-BB59E073D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090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rtalom helye 2">
            <a:extLst>
              <a:ext uri="{FF2B5EF4-FFF2-40B4-BE49-F238E27FC236}">
                <a16:creationId xmlns:a16="http://schemas.microsoft.com/office/drawing/2014/main" id="{5B2B818F-345B-E83A-4E59-C035DF83C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0471" y="1388628"/>
            <a:ext cx="5593843" cy="2453907"/>
          </a:xfrm>
        </p:spPr>
        <p:txBody>
          <a:bodyPr>
            <a:normAutofit fontScale="85000" lnSpcReduction="20000"/>
          </a:bodyPr>
          <a:lstStyle/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Egy kontaktlencse, melynek felületén közel 100%-ban víz van! Válaszd a semmihez sem fogható Total 30</a:t>
            </a:r>
            <a:r>
              <a:rPr lang="hu-HU" sz="2800" baseline="30000" dirty="0">
                <a:latin typeface="Trebuchet MS" panose="020B0603020202020204" pitchFamily="34" charset="0"/>
              </a:rPr>
              <a:t>TM</a:t>
            </a:r>
            <a:r>
              <a:rPr lang="hu-HU" sz="2800" dirty="0">
                <a:latin typeface="Trebuchet MS" panose="020B0603020202020204" pitchFamily="34" charset="0"/>
              </a:rPr>
              <a:t> </a:t>
            </a:r>
            <a:r>
              <a:rPr lang="hu-HU" dirty="0">
                <a:latin typeface="Trebuchet MS" panose="020B0603020202020204" pitchFamily="34" charset="0"/>
              </a:rPr>
              <a:t>nyújtotta kényelmet</a:t>
            </a:r>
            <a:r>
              <a:rPr lang="hu-HU" sz="2800" dirty="0">
                <a:latin typeface="Trebuchet MS" panose="020B0603020202020204" pitchFamily="34" charset="0"/>
              </a:rPr>
              <a:t>!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HU-T30-2200029-06-22</a:t>
            </a:r>
          </a:p>
          <a:p>
            <a:pPr marL="0" indent="0" algn="just">
              <a:buNone/>
            </a:pPr>
            <a:r>
              <a:rPr lang="hu-HU" sz="2800" dirty="0">
                <a:latin typeface="Trebuchet MS" panose="020B0603020202020204" pitchFamily="34" charset="0"/>
              </a:rPr>
              <a:t>A KOCKÁZATOKRÓL OLVASSA EL A HASZNÁLATI ÚTMUTATÓT, VAGY KÉRDEZZE MEG KEZELŐORVOSÁT!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9D83A480-47E6-7362-377B-D407C39AD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678" y="1211530"/>
            <a:ext cx="4318255" cy="431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869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3</Words>
  <Application>Microsoft Office PowerPoint</Application>
  <PresentationFormat>Szélesvásznú</PresentationFormat>
  <Paragraphs>16</Paragraphs>
  <Slides>5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Trebuchet MS</vt:lpstr>
      <vt:lpstr>Office-téma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-es opció</dc:title>
  <dc:creator>Tüskés Vilmos</dc:creator>
  <cp:lastModifiedBy>Tápai Andrea</cp:lastModifiedBy>
  <cp:revision>56</cp:revision>
  <dcterms:created xsi:type="dcterms:W3CDTF">2021-06-21T13:28:51Z</dcterms:created>
  <dcterms:modified xsi:type="dcterms:W3CDTF">2022-06-16T13:4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4e47c19-e68f-4046-bf94-918d2dcc81ee_Enabled">
    <vt:lpwstr>true</vt:lpwstr>
  </property>
  <property fmtid="{D5CDD505-2E9C-101B-9397-08002B2CF9AE}" pid="3" name="MSIP_Label_a4e47c19-e68f-4046-bf94-918d2dcc81ee_SetDate">
    <vt:lpwstr>2022-05-31T14:24:12Z</vt:lpwstr>
  </property>
  <property fmtid="{D5CDD505-2E9C-101B-9397-08002B2CF9AE}" pid="4" name="MSIP_Label_a4e47c19-e68f-4046-bf94-918d2dcc81ee_Method">
    <vt:lpwstr>Standard</vt:lpwstr>
  </property>
  <property fmtid="{D5CDD505-2E9C-101B-9397-08002B2CF9AE}" pid="5" name="MSIP_Label_a4e47c19-e68f-4046-bf94-918d2dcc81ee_Name">
    <vt:lpwstr>Business Use Only</vt:lpwstr>
  </property>
  <property fmtid="{D5CDD505-2E9C-101B-9397-08002B2CF9AE}" pid="6" name="MSIP_Label_a4e47c19-e68f-4046-bf94-918d2dcc81ee_SiteId">
    <vt:lpwstr>34cd94b5-d86c-447f-8d9b-81b4ff94d329</vt:lpwstr>
  </property>
  <property fmtid="{D5CDD505-2E9C-101B-9397-08002B2CF9AE}" pid="7" name="MSIP_Label_a4e47c19-e68f-4046-bf94-918d2dcc81ee_ActionId">
    <vt:lpwstr>5bc75102-0ccf-4bdf-89ae-06e6029c9a1b</vt:lpwstr>
  </property>
  <property fmtid="{D5CDD505-2E9C-101B-9397-08002B2CF9AE}" pid="8" name="MSIP_Label_a4e47c19-e68f-4046-bf94-918d2dcc81ee_ContentBits">
    <vt:lpwstr>0</vt:lpwstr>
  </property>
</Properties>
</file>